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7" r:id="rId2"/>
    <p:sldMasterId id="2147483756" r:id="rId3"/>
    <p:sldMasterId id="2147483775" r:id="rId4"/>
  </p:sldMasterIdLst>
  <p:handoutMasterIdLst>
    <p:handoutMasterId r:id="rId23"/>
  </p:handoutMasterIdLst>
  <p:sldIdLst>
    <p:sldId id="256" r:id="rId5"/>
    <p:sldId id="257" r:id="rId6"/>
    <p:sldId id="270" r:id="rId7"/>
    <p:sldId id="273" r:id="rId8"/>
    <p:sldId id="278" r:id="rId9"/>
    <p:sldId id="279" r:id="rId10"/>
    <p:sldId id="281" r:id="rId11"/>
    <p:sldId id="282" r:id="rId12"/>
    <p:sldId id="283" r:id="rId13"/>
    <p:sldId id="284" r:id="rId14"/>
    <p:sldId id="285" r:id="rId15"/>
    <p:sldId id="288" r:id="rId16"/>
    <p:sldId id="280" r:id="rId17"/>
    <p:sldId id="286" r:id="rId18"/>
    <p:sldId id="287" r:id="rId19"/>
    <p:sldId id="271" r:id="rId20"/>
    <p:sldId id="272" r:id="rId21"/>
    <p:sldId id="277" r:id="rId2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010"/>
    <a:srgbClr val="88B4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15" autoAdjust="0"/>
    <p:restoredTop sz="86404" autoAdjust="0"/>
  </p:normalViewPr>
  <p:slideViewPr>
    <p:cSldViewPr>
      <p:cViewPr>
        <p:scale>
          <a:sx n="117" d="100"/>
          <a:sy n="117" d="100"/>
        </p:scale>
        <p:origin x="-72" y="9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3" d="100"/>
          <a:sy n="73" d="100"/>
        </p:scale>
        <p:origin x="-274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E2EF14-8E2B-4EDB-AB8F-5172631B878F}" type="datetimeFigureOut">
              <a:rPr lang="fr-FR" smtClean="0"/>
              <a:pPr/>
              <a:t>12/08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95061D-2A4D-455A-9C6A-8FA5BB504A38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3279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 userDrawn="1"/>
        </p:nvSpPr>
        <p:spPr>
          <a:xfrm>
            <a:off x="7077600" y="6597352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oupe 12"/>
            <p:cNvGrpSpPr/>
            <p:nvPr userDrawn="1"/>
          </p:nvGrpSpPr>
          <p:grpSpPr>
            <a:xfrm>
              <a:off x="899592" y="6525344"/>
              <a:ext cx="1616336" cy="250473"/>
              <a:chOff x="899592" y="6485176"/>
              <a:chExt cx="1616336" cy="250473"/>
            </a:xfrm>
          </p:grpSpPr>
          <p:pic>
            <p:nvPicPr>
              <p:cNvPr id="14" name="Image 13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592" y="6485176"/>
                <a:ext cx="219164" cy="250473"/>
              </a:xfrm>
              <a:prstGeom prst="rect">
                <a:avLst/>
              </a:prstGeom>
            </p:spPr>
          </p:pic>
          <p:pic>
            <p:nvPicPr>
              <p:cNvPr id="16" name="Image 1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7462" y="6532499"/>
                <a:ext cx="398466" cy="175325"/>
              </a:xfrm>
              <a:prstGeom prst="rect">
                <a:avLst/>
              </a:prstGeom>
            </p:spPr>
          </p:pic>
          <p:pic>
            <p:nvPicPr>
              <p:cNvPr id="17" name="Image 1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31" y="6541951"/>
                <a:ext cx="702053" cy="179414"/>
              </a:xfrm>
              <a:prstGeom prst="rect">
                <a:avLst/>
              </a:prstGeom>
            </p:spPr>
          </p:pic>
        </p:grpSp>
      </p:grpSp>
      <p:sp>
        <p:nvSpPr>
          <p:cNvPr id="20" name="Espace réservé de la date 3"/>
          <p:cNvSpPr txBox="1">
            <a:spLocks/>
          </p:cNvSpPr>
          <p:nvPr userDrawn="1"/>
        </p:nvSpPr>
        <p:spPr>
          <a:xfrm>
            <a:off x="7077600" y="6429600"/>
            <a:ext cx="1066800" cy="32316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900" b="0" dirty="0" smtClean="0">
                <a:solidFill>
                  <a:schemeClr val="bg1"/>
                </a:solidFill>
              </a:rPr>
              <a:t>S4-0396-01</a:t>
            </a:r>
            <a:endParaRPr lang="fr-FR" sz="500" b="0" dirty="0">
              <a:solidFill>
                <a:schemeClr val="bg1"/>
              </a:solidFill>
            </a:endParaRPr>
          </a:p>
        </p:txBody>
      </p: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236000" y="6613200"/>
            <a:ext cx="1066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100" b="0" smtClean="0">
                <a:solidFill>
                  <a:schemeClr val="bg1"/>
                </a:solidFill>
              </a:rPr>
              <a:pPr algn="r"/>
              <a:t>12/08/2014</a:t>
            </a:fld>
            <a:endParaRPr lang="fr-FR" sz="9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24" r:id="rId3"/>
    <p:sldLayoutId id="2147483712" r:id="rId4"/>
    <p:sldLayoutId id="2147483713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2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4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Espace réservé de la date 3"/>
          <p:cNvSpPr txBox="1">
            <a:spLocks/>
          </p:cNvSpPr>
          <p:nvPr userDrawn="1"/>
        </p:nvSpPr>
        <p:spPr>
          <a:xfrm>
            <a:off x="5580112" y="6614278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sz="1200" b="0" dirty="0" smtClean="0">
                <a:solidFill>
                  <a:schemeClr val="bg1"/>
                </a:solidFill>
              </a:rPr>
              <a:t>P3-0032-01</a:t>
            </a:r>
            <a:endParaRPr lang="fr-FR" sz="5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93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5148064" y="2852936"/>
            <a:ext cx="2736304" cy="1354217"/>
          </a:xfrm>
        </p:spPr>
        <p:txBody>
          <a:bodyPr/>
          <a:lstStyle/>
          <a:p>
            <a:pPr algn="ctr"/>
            <a:r>
              <a:rPr lang="fr-FR" dirty="0" smtClean="0"/>
              <a:t>Formation GIT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573364" y="4653136"/>
            <a:ext cx="6273329" cy="369332"/>
          </a:xfrm>
        </p:spPr>
        <p:txBody>
          <a:bodyPr/>
          <a:lstStyle/>
          <a:p>
            <a:r>
              <a:rPr lang="fr-FR" dirty="0" smtClean="0"/>
              <a:t>Laurent Kappel</a:t>
            </a:r>
            <a:endParaRPr lang="fr-FR" dirty="0"/>
          </a:p>
        </p:txBody>
      </p:sp>
      <p:sp>
        <p:nvSpPr>
          <p:cNvPr id="4" name="Titre 5"/>
          <p:cNvSpPr txBox="1">
            <a:spLocks/>
          </p:cNvSpPr>
          <p:nvPr/>
        </p:nvSpPr>
        <p:spPr>
          <a:xfrm>
            <a:off x="2742304" y="6021288"/>
            <a:ext cx="2967725" cy="5078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Groupe 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SII </a:t>
            </a:r>
            <a:endParaRPr lang="fr-FR" sz="1100" b="1" dirty="0" smtClean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65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, rue de Bercy - 75012 Paris</a:t>
            </a:r>
          </a:p>
          <a:p>
            <a:pPr>
              <a:lnSpc>
                <a:spcPct val="100000"/>
              </a:lnSpc>
            </a:pPr>
            <a:r>
              <a:rPr lang="fr-FR" sz="1100" b="1" dirty="0">
                <a:solidFill>
                  <a:schemeClr val="bg1"/>
                </a:solidFill>
                <a:latin typeface="+mn-lt"/>
              </a:rPr>
              <a:t>Tél : 01 42 84 82 22 - Fax : 01 42 84 30 </a:t>
            </a: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82</a:t>
            </a:r>
            <a:endParaRPr lang="fr-FR" sz="11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67" y="2852936"/>
            <a:ext cx="3621245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13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sp>
        <p:nvSpPr>
          <p:cNvPr id="4" name="Espace réservé du texte 1"/>
          <p:cNvSpPr txBox="1">
            <a:spLocks/>
          </p:cNvSpPr>
          <p:nvPr/>
        </p:nvSpPr>
        <p:spPr>
          <a:xfrm>
            <a:off x="449053" y="4157464"/>
            <a:ext cx="8502650" cy="237626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1403648" y="3541327"/>
            <a:ext cx="11521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RD/WR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0909" y="3140968"/>
            <a:ext cx="28803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941" y="2636910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188" y="2710390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2051720" y="170080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781827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0909" y="30689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081" y="47058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01" y="3356992"/>
            <a:ext cx="864096" cy="876654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411759" y="3705930"/>
            <a:ext cx="12241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NLY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0585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636912"/>
            <a:ext cx="6915150" cy="296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2044215" y="162880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</p:spTree>
    <p:extLst>
      <p:ext uri="{BB962C8B-B14F-4D97-AF65-F5344CB8AC3E}">
        <p14:creationId xmlns:p14="http://schemas.microsoft.com/office/powerpoint/2010/main" val="57780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sp>
        <p:nvSpPr>
          <p:cNvPr id="4" name="Espace réservé du texte 1"/>
          <p:cNvSpPr txBox="1">
            <a:spLocks/>
          </p:cNvSpPr>
          <p:nvPr/>
        </p:nvSpPr>
        <p:spPr>
          <a:xfrm>
            <a:off x="449053" y="4157464"/>
            <a:ext cx="8502650" cy="237626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" pitchFamily="2" charset="2"/>
              <a:buChar char="§"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Wingdings 3" pitchFamily="18" charset="2"/>
              <a:buChar char="î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1675" indent="-142875" algn="l" defTabSz="914400" rtl="0" eaLnBrk="1" latinLnBrk="0" hangingPunct="1">
              <a:lnSpc>
                <a:spcPct val="114000"/>
              </a:lnSpc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1403648" y="3541327"/>
            <a:ext cx="11521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FF0000"/>
                </a:solidFill>
              </a:rPr>
              <a:t>RD/WR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2950909" y="3140968"/>
            <a:ext cx="28803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941" y="2636910"/>
            <a:ext cx="32766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188" y="2710390"/>
            <a:ext cx="18002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2051720" y="170080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dirty="0"/>
              <a:t>A </a:t>
            </a:r>
            <a:r>
              <a:rPr lang="fr-FR" u="sng" dirty="0" err="1"/>
              <a:t>very</a:t>
            </a:r>
            <a:r>
              <a:rPr lang="fr-FR" dirty="0"/>
              <a:t> </a:t>
            </a:r>
            <a:r>
              <a:rPr lang="fr-FR" dirty="0" err="1"/>
              <a:t>common</a:t>
            </a:r>
            <a:r>
              <a:rPr lang="fr-FR" dirty="0"/>
              <a:t> practice:</a:t>
            </a:r>
          </a:p>
          <a:p>
            <a:pPr algn="ctr"/>
            <a:r>
              <a:rPr lang="fr-FR" dirty="0"/>
              <a:t>Sharing via </a:t>
            </a:r>
            <a:r>
              <a:rPr lang="fr-FR" u="sng" dirty="0"/>
              <a:t>user-</a:t>
            </a:r>
            <a:r>
              <a:rPr lang="fr-FR" u="sng" dirty="0" err="1"/>
              <a:t>owned</a:t>
            </a:r>
            <a:r>
              <a:rPr lang="fr-FR" u="sng" dirty="0"/>
              <a:t> repos</a:t>
            </a: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781827"/>
            <a:ext cx="14954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Connecteur droit avec flèche 20"/>
          <p:cNvCxnSpPr/>
          <p:nvPr/>
        </p:nvCxnSpPr>
        <p:spPr>
          <a:xfrm>
            <a:off x="2950909" y="30689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/>
          <p:cNvCxnSpPr/>
          <p:nvPr/>
        </p:nvCxnSpPr>
        <p:spPr>
          <a:xfrm>
            <a:off x="2971081" y="4705860"/>
            <a:ext cx="288032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 flipV="1">
            <a:off x="2251001" y="3356992"/>
            <a:ext cx="864096" cy="876654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411759" y="3705930"/>
            <a:ext cx="12241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READ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NLY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832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7" y="1317832"/>
            <a:ext cx="7144675" cy="434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4554704"/>
            <a:ext cx="468630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03848" y="4077072"/>
            <a:ext cx="10801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err="1"/>
              <a:t>Hoste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239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197322"/>
            <a:ext cx="8502650" cy="5111998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err="1"/>
              <a:t>Distributed</a:t>
            </a:r>
            <a:r>
              <a:rPr lang="fr-FR" b="0" dirty="0"/>
              <a:t> Workflow </a:t>
            </a:r>
            <a:r>
              <a:rPr lang="fr-FR" b="0" dirty="0" err="1"/>
              <a:t>Examp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5730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re 4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7093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401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538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6205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vertical 15"/>
          <p:cNvSpPr>
            <a:spLocks noGrp="1"/>
          </p:cNvSpPr>
          <p:nvPr>
            <p:ph type="body" orient="vert" idx="14"/>
          </p:nvPr>
        </p:nvSpPr>
        <p:spPr>
          <a:xfrm>
            <a:off x="954818" y="4005064"/>
            <a:ext cx="7505614" cy="417300"/>
          </a:xfrm>
        </p:spPr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Distributed</a:t>
            </a:r>
            <a:endParaRPr lang="fr-FR" dirty="0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>
          <a:xfrm>
            <a:off x="1187624" y="3501008"/>
            <a:ext cx="7505614" cy="417300"/>
          </a:xfrm>
        </p:spPr>
        <p:txBody>
          <a:bodyPr/>
          <a:lstStyle/>
          <a:p>
            <a:r>
              <a:rPr lang="fr-FR" dirty="0" smtClean="0"/>
              <a:t>GIT </a:t>
            </a:r>
            <a:r>
              <a:rPr lang="fr-FR" dirty="0" smtClean="0"/>
              <a:t>Avantages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>
          <a:xfrm>
            <a:off x="1458874" y="2075596"/>
            <a:ext cx="7505614" cy="417300"/>
          </a:xfrm>
        </p:spPr>
        <p:txBody>
          <a:bodyPr/>
          <a:lstStyle/>
          <a:p>
            <a:r>
              <a:rPr lang="fr-FR" dirty="0" smtClean="0"/>
              <a:t>GIT : SCM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>
          <a:xfrm>
            <a:off x="1458874" y="2507644"/>
            <a:ext cx="7505614" cy="417300"/>
          </a:xfrm>
        </p:spPr>
        <p:txBody>
          <a:bodyPr/>
          <a:lstStyle/>
          <a:p>
            <a:r>
              <a:rPr lang="fr-FR" dirty="0"/>
              <a:t>Panorama des SCM</a:t>
            </a:r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>
          <a:xfrm>
            <a:off x="1386866" y="2996952"/>
            <a:ext cx="7505614" cy="417300"/>
          </a:xfrm>
        </p:spPr>
        <p:txBody>
          <a:bodyPr/>
          <a:lstStyle/>
          <a:p>
            <a:r>
              <a:rPr lang="fr-FR" dirty="0" smtClean="0"/>
              <a:t>GIT: </a:t>
            </a:r>
            <a:r>
              <a:rPr lang="fr-FR" b="1" dirty="0" smtClean="0"/>
              <a:t>not </a:t>
            </a:r>
            <a:r>
              <a:rPr lang="fr-FR" dirty="0"/>
              <a:t>an </a:t>
            </a:r>
            <a:r>
              <a:rPr lang="fr-FR" dirty="0" err="1"/>
              <a:t>evolution</a:t>
            </a:r>
            <a:endParaRPr lang="fr-FR" dirty="0"/>
          </a:p>
        </p:txBody>
      </p:sp>
      <p:sp>
        <p:nvSpPr>
          <p:cNvPr id="8" name="Espace réservé du texte vertical 15"/>
          <p:cNvSpPr txBox="1">
            <a:spLocks/>
          </p:cNvSpPr>
          <p:nvPr/>
        </p:nvSpPr>
        <p:spPr>
          <a:xfrm>
            <a:off x="738794" y="443711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 algn="l" defTabSz="9144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63575" indent="-206375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 smtClean="0"/>
          </a:p>
        </p:txBody>
      </p:sp>
      <p:sp>
        <p:nvSpPr>
          <p:cNvPr id="9" name="Espace réservé du texte vertical 15"/>
          <p:cNvSpPr txBox="1">
            <a:spLocks/>
          </p:cNvSpPr>
          <p:nvPr/>
        </p:nvSpPr>
        <p:spPr>
          <a:xfrm>
            <a:off x="378754" y="4906767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 algn="l" defTabSz="914400" rtl="0" eaLnBrk="1" latinLnBrk="0" hangingPunct="1">
              <a:spcBef>
                <a:spcPct val="20000"/>
              </a:spcBef>
              <a:buSzPct val="120000"/>
              <a:buFontTx/>
              <a:buBlip>
                <a:blip r:embed="rId2"/>
              </a:buBlip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63575" indent="-206375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1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17822" y="1341338"/>
            <a:ext cx="8502650" cy="46799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GIT: SCM</a:t>
            </a:r>
            <a:endParaRPr lang="fr-F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87" y="1412775"/>
            <a:ext cx="3962400" cy="126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43" y="3052601"/>
            <a:ext cx="1078937" cy="2519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50" y="2919864"/>
            <a:ext cx="1826896" cy="830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551" y="2468040"/>
            <a:ext cx="1231473" cy="1362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472" y="3284984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7338" y="3750271"/>
            <a:ext cx="4678456" cy="47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663" y="4919736"/>
            <a:ext cx="602824" cy="5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669" y="4306620"/>
            <a:ext cx="573411" cy="49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696" y="4795911"/>
            <a:ext cx="2476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650" y="4929592"/>
            <a:ext cx="616272" cy="685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786" y="4412167"/>
            <a:ext cx="388070" cy="41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595" y="4517831"/>
            <a:ext cx="200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043" y="4312499"/>
            <a:ext cx="588378" cy="51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332" y="5119899"/>
            <a:ext cx="2571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774" y="4917906"/>
            <a:ext cx="572850" cy="47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cteur droit 5"/>
          <p:cNvCxnSpPr/>
          <p:nvPr/>
        </p:nvCxnSpPr>
        <p:spPr>
          <a:xfrm>
            <a:off x="5626042" y="4413380"/>
            <a:ext cx="704256" cy="411354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 flipH="1">
            <a:off x="5626042" y="4413380"/>
            <a:ext cx="704256" cy="411354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9" y="4391587"/>
            <a:ext cx="576064" cy="43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740" y="5397761"/>
            <a:ext cx="2189533" cy="60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011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Panorama des SCM</a:t>
            </a:r>
            <a:endParaRPr lang="fr-F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844824"/>
            <a:ext cx="5148381" cy="3882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134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17822" y="1412776"/>
            <a:ext cx="8502650" cy="4679950"/>
          </a:xfrm>
        </p:spPr>
        <p:txBody>
          <a:bodyPr/>
          <a:lstStyle/>
          <a:p>
            <a:endParaRPr lang="fr-FR" sz="1600" dirty="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3999"/>
            <a:ext cx="6408758" cy="400110"/>
          </a:xfrm>
        </p:spPr>
        <p:txBody>
          <a:bodyPr/>
          <a:lstStyle/>
          <a:p>
            <a:r>
              <a:rPr lang="fr-FR" b="0" dirty="0"/>
              <a:t>Un </a:t>
            </a:r>
            <a:r>
              <a:rPr lang="fr-FR" b="0" dirty="0" smtClean="0"/>
              <a:t>peu d’histoire</a:t>
            </a:r>
            <a:r>
              <a:rPr lang="fr-FR" b="0" dirty="0"/>
              <a:t>…</a:t>
            </a: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936" y="3414284"/>
            <a:ext cx="2219325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161" y="3645024"/>
            <a:ext cx="2880320" cy="208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19" y="2132856"/>
            <a:ext cx="1031379" cy="1215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693" y="3473574"/>
            <a:ext cx="4095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861048"/>
            <a:ext cx="1771650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480" y="3629025"/>
            <a:ext cx="14859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180" y="3414284"/>
            <a:ext cx="9144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065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17822" y="1412776"/>
            <a:ext cx="8502650" cy="46799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dirty="0"/>
              <a:t>not </a:t>
            </a:r>
            <a:r>
              <a:rPr lang="fr-FR" b="0" dirty="0"/>
              <a:t>an </a:t>
            </a:r>
            <a:r>
              <a:rPr lang="fr-FR" b="0" dirty="0" err="1"/>
              <a:t>evolution</a:t>
            </a:r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420888"/>
            <a:ext cx="6419850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4"/>
          <p:cNvCxnSpPr/>
          <p:nvPr/>
        </p:nvCxnSpPr>
        <p:spPr>
          <a:xfrm>
            <a:off x="2411760" y="3356992"/>
            <a:ext cx="4680520" cy="2273821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 flipV="1">
            <a:off x="2564160" y="3212976"/>
            <a:ext cx="4528120" cy="2448272"/>
          </a:xfrm>
          <a:prstGeom prst="line">
            <a:avLst/>
          </a:prstGeom>
          <a:ln w="2381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44566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smtClean="0"/>
              <a:t>GIT Avantages</a:t>
            </a:r>
            <a:endParaRPr lang="fr-F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644" y="2276872"/>
            <a:ext cx="2686050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3049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 err="1"/>
              <a:t>Centralized</a:t>
            </a:r>
            <a:r>
              <a:rPr lang="fr-FR" b="0" dirty="0"/>
              <a:t> SCM</a:t>
            </a:r>
            <a:endParaRPr lang="fr-F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393191"/>
            <a:ext cx="6419428" cy="442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5652120" y="2204864"/>
            <a:ext cx="1421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Single Point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of </a:t>
            </a:r>
            <a:r>
              <a:rPr lang="fr-FR" b="1" dirty="0" err="1">
                <a:solidFill>
                  <a:srgbClr val="FF0000"/>
                </a:solidFill>
              </a:rPr>
              <a:t>Failure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331640" y="2204863"/>
            <a:ext cx="1277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Network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(slow)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15" name="Connecteur droit avec flèche 14"/>
          <p:cNvCxnSpPr/>
          <p:nvPr/>
        </p:nvCxnSpPr>
        <p:spPr>
          <a:xfrm>
            <a:off x="2609528" y="2851195"/>
            <a:ext cx="558316" cy="505797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/>
          <p:nvPr/>
        </p:nvCxnSpPr>
        <p:spPr>
          <a:xfrm>
            <a:off x="2609528" y="2851194"/>
            <a:ext cx="1116632" cy="1602863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849380" y="4869160"/>
            <a:ext cx="10618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Access</a:t>
            </a:r>
          </a:p>
          <a:p>
            <a:pPr algn="ctr"/>
            <a:r>
              <a:rPr lang="fr-FR" b="1" dirty="0" err="1">
                <a:solidFill>
                  <a:srgbClr val="FF0000"/>
                </a:solidFill>
              </a:rPr>
              <a:t>Rights</a:t>
            </a:r>
            <a:r>
              <a:rPr lang="fr-FR" b="1" dirty="0">
                <a:solidFill>
                  <a:srgbClr val="FF0000"/>
                </a:solidFill>
              </a:rPr>
              <a:t>?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5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7544" y="504000"/>
            <a:ext cx="6408758" cy="400110"/>
          </a:xfrm>
        </p:spPr>
        <p:txBody>
          <a:bodyPr/>
          <a:lstStyle/>
          <a:p>
            <a:r>
              <a:rPr lang="fr-FR" b="0" dirty="0"/>
              <a:t>Git </a:t>
            </a:r>
            <a:r>
              <a:rPr lang="fr-FR" b="0" dirty="0" err="1"/>
              <a:t>is</a:t>
            </a:r>
            <a:r>
              <a:rPr lang="fr-FR" b="0" dirty="0"/>
              <a:t> </a:t>
            </a:r>
            <a:r>
              <a:rPr lang="fr-FR" b="0" dirty="0" err="1"/>
              <a:t>Distributed</a:t>
            </a:r>
            <a:endParaRPr lang="fr-FR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115" y="1988840"/>
            <a:ext cx="3024336" cy="355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avec flèche 4"/>
          <p:cNvCxnSpPr/>
          <p:nvPr/>
        </p:nvCxnSpPr>
        <p:spPr>
          <a:xfrm>
            <a:off x="3995936" y="3822632"/>
            <a:ext cx="504056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>
            <a:off x="3995936" y="5085184"/>
            <a:ext cx="504056" cy="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 flipV="1">
            <a:off x="5065762" y="4076768"/>
            <a:ext cx="0" cy="665499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/>
          <p:nvPr/>
        </p:nvCxnSpPr>
        <p:spPr>
          <a:xfrm flipV="1">
            <a:off x="3418908" y="4076768"/>
            <a:ext cx="0" cy="665499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/>
          <p:cNvCxnSpPr/>
          <p:nvPr/>
        </p:nvCxnSpPr>
        <p:spPr>
          <a:xfrm flipV="1">
            <a:off x="3767107" y="4022762"/>
            <a:ext cx="853879" cy="756388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/>
          <p:cNvCxnSpPr/>
          <p:nvPr/>
        </p:nvCxnSpPr>
        <p:spPr>
          <a:xfrm flipH="1" flipV="1">
            <a:off x="3707904" y="4058326"/>
            <a:ext cx="936104" cy="702382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headEnd type="arrow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830883"/>
            <a:ext cx="13716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" name="Rectangle 7167"/>
          <p:cNvSpPr/>
          <p:nvPr/>
        </p:nvSpPr>
        <p:spPr>
          <a:xfrm>
            <a:off x="3172991" y="2633159"/>
            <a:ext cx="2149946" cy="5760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 a priori structur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149309" y="5540496"/>
            <a:ext cx="2149947" cy="57606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Git </a:t>
            </a:r>
            <a:r>
              <a:rPr lang="fr-FR" dirty="0"/>
              <a:t>≠ </a:t>
            </a:r>
            <a:r>
              <a:rPr lang="fr-FR" dirty="0" err="1"/>
              <a:t>Anarch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7388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S4_0396_FR_Modele_PPT_Paysage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4_0396_FR_Modele_PPT_Paysage</Template>
  <TotalTime>990</TotalTime>
  <Words>132</Words>
  <Application>Microsoft Office PowerPoint</Application>
  <PresentationFormat>Affichage à l'écran (4:3)</PresentationFormat>
  <Paragraphs>43</Paragraphs>
  <Slides>18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8</vt:i4>
      </vt:variant>
    </vt:vector>
  </HeadingPairs>
  <TitlesOfParts>
    <vt:vector size="22" baseType="lpstr">
      <vt:lpstr>S4_0396_FR_Modele_PPT_Paysage</vt:lpstr>
      <vt:lpstr>5 Parties</vt:lpstr>
      <vt:lpstr>4 Parties</vt:lpstr>
      <vt:lpstr>3 Parties</vt:lpstr>
      <vt:lpstr>Formation GIT</vt:lpstr>
      <vt:lpstr>Présentation PowerPoint</vt:lpstr>
      <vt:lpstr>GIT: SCM</vt:lpstr>
      <vt:lpstr>Panorama des SCM</vt:lpstr>
      <vt:lpstr>Un peu d’histoire…</vt:lpstr>
      <vt:lpstr>not an evolution</vt:lpstr>
      <vt:lpstr>GIT Avantages</vt:lpstr>
      <vt:lpstr>Centralized SCM</vt:lpstr>
      <vt:lpstr>Git is Distributed</vt:lpstr>
      <vt:lpstr>Git is Distributed</vt:lpstr>
      <vt:lpstr>Git is Distributed</vt:lpstr>
      <vt:lpstr>Git is Distributed</vt:lpstr>
      <vt:lpstr>Git is Distributed</vt:lpstr>
      <vt:lpstr>Distributed Workflow Example</vt:lpstr>
      <vt:lpstr>Présentation PowerPoint</vt:lpstr>
      <vt:lpstr>Présentation PowerPoint</vt:lpstr>
      <vt:lpstr>Présentation PowerPoint</vt:lpstr>
      <vt:lpstr>Présentation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e en place d’une gestion de configuration SII</dc:title>
  <dc:creator>Eric JEGAT</dc:creator>
  <cp:lastModifiedBy>HPBC4895</cp:lastModifiedBy>
  <cp:revision>168</cp:revision>
  <dcterms:created xsi:type="dcterms:W3CDTF">2013-06-03T15:19:42Z</dcterms:created>
  <dcterms:modified xsi:type="dcterms:W3CDTF">2014-08-12T10:1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f-modele">
    <vt:lpwstr>S4-0396-01</vt:lpwstr>
  </property>
</Properties>
</file>